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6"/>
  </p:handoutMasterIdLst>
  <p:sldIdLst>
    <p:sldId id="261" r:id="rId2"/>
    <p:sldId id="262" r:id="rId3"/>
    <p:sldId id="264" r:id="rId4"/>
    <p:sldId id="265" r:id="rId5"/>
  </p:sldIdLst>
  <p:sldSz cx="9144000" cy="6858000" type="screen4x3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A0D8"/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714" autoAdjust="0"/>
    <p:restoredTop sz="94660"/>
  </p:normalViewPr>
  <p:slideViewPr>
    <p:cSldViewPr snapToGrid="0" showGuides="1">
      <p:cViewPr varScale="1">
        <p:scale>
          <a:sx n="65" d="100"/>
          <a:sy n="65" d="100"/>
        </p:scale>
        <p:origin x="-1138" y="-72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04/05/2016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24A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6-05-04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24A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5-04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5-04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5-04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5-04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5-04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5-04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6-05-0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04/05/2016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24A0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Antagningsstatistik Master HT16</a:t>
            </a:r>
            <a:endParaRPr lang="sv-SE" sz="3200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149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ntagningsstatistik Master </a:t>
            </a:r>
            <a:r>
              <a:rPr lang="sv-SE" dirty="0" smtClean="0"/>
              <a:t>HT16 </a:t>
            </a:r>
            <a:r>
              <a:rPr lang="sv-SE" dirty="0"/>
              <a:t>urval 1</a:t>
            </a: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26676088"/>
              </p:ext>
            </p:extLst>
          </p:nvPr>
        </p:nvGraphicFramePr>
        <p:xfrm>
          <a:off x="1606046" y="1776025"/>
          <a:ext cx="6935789" cy="15697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10641"/>
                <a:gridCol w="1236372"/>
                <a:gridCol w="1171978"/>
                <a:gridCol w="1146219"/>
                <a:gridCol w="1870579"/>
              </a:tblGrid>
              <a:tr h="370840">
                <a:tc>
                  <a:txBody>
                    <a:bodyPr/>
                    <a:lstStyle/>
                    <a:p>
                      <a:endParaRPr lang="sv-SE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 smtClean="0">
                          <a:latin typeface="+mn-lt"/>
                        </a:rPr>
                        <a:t>2016</a:t>
                      </a:r>
                      <a:endParaRPr lang="sv-S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 smtClean="0">
                          <a:latin typeface="+mn-lt"/>
                        </a:rPr>
                        <a:t>2015</a:t>
                      </a:r>
                      <a:endParaRPr lang="sv-S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 smtClean="0">
                          <a:latin typeface="+mn-lt"/>
                        </a:rPr>
                        <a:t>2014</a:t>
                      </a:r>
                      <a:endParaRPr lang="sv-S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 smtClean="0">
                          <a:latin typeface="+mn-lt"/>
                        </a:rPr>
                        <a:t>Förändring 2015 - 2016</a:t>
                      </a:r>
                      <a:endParaRPr lang="sv-SE" sz="1200" dirty="0">
                        <a:latin typeface="+mn-lt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sv-SE" sz="1200" b="1" dirty="0" smtClean="0">
                          <a:latin typeface="+mn-lt"/>
                        </a:rPr>
                        <a:t>Anmälningar till urval *)</a:t>
                      </a:r>
                      <a:endParaRPr lang="sv-SE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84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4734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4414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2,7</a:t>
                      </a:r>
                      <a:r>
                        <a:rPr lang="sv-SE" sz="12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%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sv-SE" sz="1200" b="1" dirty="0" smtClean="0">
                          <a:latin typeface="+mn-lt"/>
                        </a:rPr>
                        <a:t>Antal antagna</a:t>
                      </a:r>
                      <a:endParaRPr lang="sv-SE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51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 dirty="0" smtClean="0">
                          <a:effectLst/>
                          <a:latin typeface="+mn-lt"/>
                        </a:rPr>
                        <a:t>2052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1536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4,5</a:t>
                      </a:r>
                      <a:r>
                        <a:rPr lang="sv-SE" sz="12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%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sv-SE" sz="1200" b="1" dirty="0" smtClean="0">
                          <a:latin typeface="+mn-lt"/>
                        </a:rPr>
                        <a:t>Antal reserver</a:t>
                      </a:r>
                      <a:endParaRPr lang="sv-SE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91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726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 dirty="0">
                          <a:effectLst/>
                          <a:latin typeface="+mn-lt"/>
                        </a:rPr>
                        <a:t>1190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32,9</a:t>
                      </a:r>
                      <a:r>
                        <a:rPr lang="sv-SE" sz="12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%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635512" y="4929258"/>
            <a:ext cx="690632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/>
              <a:t>*) Anmälningar till urval motsvarar antal sökalternativ som den sökande är behörig till. Observera att </a:t>
            </a:r>
            <a:r>
              <a:rPr lang="sv-SE" sz="1200" dirty="0" smtClean="0"/>
              <a:t>det </a:t>
            </a:r>
            <a:r>
              <a:rPr lang="sv-SE" sz="1200" b="1" i="1" dirty="0"/>
              <a:t>ej är unika individer</a:t>
            </a:r>
            <a:r>
              <a:rPr lang="sv-SE" sz="1200" dirty="0"/>
              <a:t>. En individ kan anmäla sig till max 4 olika </a:t>
            </a:r>
            <a:r>
              <a:rPr lang="sv-SE" sz="1200" dirty="0" smtClean="0"/>
              <a:t>utbildningar.</a:t>
            </a:r>
            <a:endParaRPr lang="sv-SE" sz="1200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9841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vgiftsstatus, antagna urval 1</a:t>
            </a:r>
            <a:endParaRPr lang="sv-SE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13262603"/>
              </p:ext>
            </p:extLst>
          </p:nvPr>
        </p:nvGraphicFramePr>
        <p:xfrm>
          <a:off x="1606046" y="1776025"/>
          <a:ext cx="6429135" cy="135354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23520"/>
                <a:gridCol w="1081826"/>
                <a:gridCol w="1068946"/>
                <a:gridCol w="871385"/>
                <a:gridCol w="1883458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sv-SE" sz="1200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 smtClean="0">
                          <a:latin typeface="+mn-lt"/>
                        </a:rPr>
                        <a:t>2016</a:t>
                      </a:r>
                      <a:endParaRPr lang="sv-S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 smtClean="0">
                          <a:latin typeface="+mn-lt"/>
                        </a:rPr>
                        <a:t>2015</a:t>
                      </a:r>
                      <a:endParaRPr lang="sv-S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 smtClean="0">
                          <a:latin typeface="+mn-lt"/>
                        </a:rPr>
                        <a:t>2014</a:t>
                      </a:r>
                      <a:endParaRPr lang="sv-SE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 smtClean="0">
                          <a:latin typeface="+mn-lt"/>
                        </a:rPr>
                        <a:t>Förändring 2015 </a:t>
                      </a:r>
                      <a:r>
                        <a:rPr lang="sv-SE" sz="1200" baseline="0" dirty="0" smtClean="0">
                          <a:latin typeface="+mn-lt"/>
                        </a:rPr>
                        <a:t>- 2016</a:t>
                      </a:r>
                      <a:endParaRPr lang="sv-SE" sz="1200" dirty="0">
                        <a:latin typeface="+mn-lt"/>
                      </a:endParaRPr>
                    </a:p>
                  </a:txBody>
                  <a:tcPr anchor="ctr"/>
                </a:tc>
              </a:tr>
              <a:tr h="480425">
                <a:tc>
                  <a:txBody>
                    <a:bodyPr/>
                    <a:lstStyle/>
                    <a:p>
                      <a:pPr algn="l"/>
                      <a:r>
                        <a:rPr lang="sv-SE" sz="1200" b="1" dirty="0" smtClean="0">
                          <a:latin typeface="+mn-lt"/>
                        </a:rPr>
                        <a:t>Avgiftsbefriade</a:t>
                      </a:r>
                      <a:endParaRPr lang="sv-SE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1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 dirty="0" smtClean="0">
                          <a:effectLst/>
                          <a:latin typeface="+mn-lt"/>
                        </a:rPr>
                        <a:t>974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7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7</a:t>
                      </a:r>
                      <a:r>
                        <a:rPr lang="sv-SE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%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502276">
                <a:tc>
                  <a:txBody>
                    <a:bodyPr/>
                    <a:lstStyle/>
                    <a:p>
                      <a:pPr algn="l"/>
                      <a:r>
                        <a:rPr lang="sv-SE" sz="1200" b="1" dirty="0" smtClean="0">
                          <a:latin typeface="+mn-lt"/>
                        </a:rPr>
                        <a:t>Avgiftsskyldiga</a:t>
                      </a:r>
                      <a:endParaRPr lang="sv-SE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3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0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8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4,3</a:t>
                      </a:r>
                      <a:r>
                        <a:rPr lang="sv-SE" sz="12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%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635512" y="4692426"/>
            <a:ext cx="6906322" cy="147732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sv-SE" sz="1200" dirty="0" smtClean="0"/>
              <a:t>Från </a:t>
            </a:r>
            <a:r>
              <a:rPr lang="sv-SE" sz="1200" dirty="0"/>
              <a:t>och med </a:t>
            </a:r>
            <a:r>
              <a:rPr lang="sv-SE" sz="1200" dirty="0" smtClean="0"/>
              <a:t>Master HT15 </a:t>
            </a:r>
            <a:r>
              <a:rPr lang="sv-SE" sz="1200" dirty="0"/>
              <a:t>tillämpas separat antagning som innebär att behöriga sökande konkurrerar i olika urvalsgrupper beroende på deras </a:t>
            </a:r>
            <a:r>
              <a:rPr lang="sv-SE" sz="1200" dirty="0" smtClean="0"/>
              <a:t>avgiftsstatus.</a:t>
            </a:r>
          </a:p>
          <a:p>
            <a:endParaRPr lang="sv-SE" sz="1200" dirty="0"/>
          </a:p>
          <a:p>
            <a:r>
              <a:rPr lang="sv-SE" sz="1200" dirty="0" smtClean="0"/>
              <a:t>Studenter antagna inom ramarna för EIT Digital är inte medräknade i denna sammanställning.  </a:t>
            </a:r>
          </a:p>
          <a:p>
            <a:endParaRPr lang="sv-SE" sz="1200" dirty="0" smtClean="0"/>
          </a:p>
          <a:p>
            <a:endParaRPr lang="sv-SE" sz="1200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82431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ntal antagna per skola</a:t>
            </a:r>
            <a:endParaRPr lang="sv-SE" dirty="0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46990417"/>
              </p:ext>
            </p:extLst>
          </p:nvPr>
        </p:nvGraphicFramePr>
        <p:xfrm>
          <a:off x="1554856" y="1389555"/>
          <a:ext cx="6935789" cy="423779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90827"/>
                <a:gridCol w="990827"/>
                <a:gridCol w="990827"/>
                <a:gridCol w="990827"/>
                <a:gridCol w="990827"/>
                <a:gridCol w="990827"/>
                <a:gridCol w="990827"/>
              </a:tblGrid>
              <a:tr h="529397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sv-SE" sz="1100" u="none" strike="noStrike" kern="1200" spc="90" dirty="0" smtClean="0">
                          <a:solidFill>
                            <a:schemeClr val="bg1"/>
                          </a:solidFill>
                          <a:effectLst/>
                        </a:rPr>
                        <a:t>Skola</a:t>
                      </a:r>
                      <a:endParaRPr lang="sv-SE" sz="1100" b="1" i="0" u="none" strike="noStrike" spc="9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sv-SE" sz="1100" b="1" i="0" u="none" strike="noStrike" spc="9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vgifts-</a:t>
                      </a:r>
                    </a:p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sv-SE" sz="1100" b="1" i="0" u="none" strike="noStrike" spc="9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efriade</a:t>
                      </a:r>
                      <a:r>
                        <a:rPr lang="sv-SE" sz="1100" b="1" i="0" u="none" strike="noStrike" spc="9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HT16</a:t>
                      </a:r>
                      <a:endParaRPr lang="sv-SE" sz="1100" b="1" i="0" u="none" strike="noStrike" spc="90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sv-SE" sz="1100" b="1" i="0" u="none" strike="noStrike" kern="1200" spc="9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gifts-befriade</a:t>
                      </a:r>
                      <a:r>
                        <a:rPr lang="sv-SE" sz="1100" b="1" i="0" u="none" strike="noStrike" kern="1200" spc="9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T15</a:t>
                      </a:r>
                      <a:endParaRPr lang="sv-SE" sz="1100" b="1" i="0" u="none" strike="noStrike" kern="1200" spc="9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sv-SE" sz="1100" b="1" i="0" u="none" strike="noStrike" spc="9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vgifts-skyldiga HT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sv-SE" sz="1100" b="1" i="0" u="none" strike="noStrike" kern="1200" spc="9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gifts-skyldiga HT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sv-SE" sz="1100" b="1" i="0" u="none" strike="noStrike" spc="9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talt HT16</a:t>
                      </a:r>
                      <a:endParaRPr lang="sv-SE" sz="1100" b="1" i="0" u="none" strike="noStrike" spc="9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sv-SE" sz="1100" u="none" strike="noStrike" spc="90" dirty="0" smtClean="0">
                          <a:solidFill>
                            <a:schemeClr val="bg1"/>
                          </a:solidFill>
                          <a:effectLst/>
                        </a:rPr>
                        <a:t>Totalt</a:t>
                      </a:r>
                      <a:r>
                        <a:rPr lang="sv-SE" sz="1100" u="none" strike="noStrike" spc="90" baseline="0" dirty="0" smtClean="0">
                          <a:solidFill>
                            <a:schemeClr val="bg1"/>
                          </a:solidFill>
                          <a:effectLst/>
                        </a:rPr>
                        <a:t> HT15</a:t>
                      </a:r>
                      <a:endParaRPr lang="sv-SE" sz="1100" b="1" i="0" u="none" strike="noStrike" spc="9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  <a:latin typeface="+mn-lt"/>
                        </a:rPr>
                        <a:t>ABE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2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294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4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151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6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445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  <a:latin typeface="+mn-lt"/>
                        </a:rPr>
                        <a:t>BIO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16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>
                          <a:effectLst/>
                          <a:latin typeface="+mn-lt"/>
                        </a:rPr>
                        <a:t>20</a:t>
                      </a:r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>
                          <a:effectLst/>
                          <a:latin typeface="+mn-lt"/>
                        </a:rPr>
                        <a:t>36</a:t>
                      </a:r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  <a:latin typeface="+mn-lt"/>
                        </a:rPr>
                        <a:t>CHE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10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44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54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  <a:latin typeface="+mn-lt"/>
                        </a:rPr>
                        <a:t>CSC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5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136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6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150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1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286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  <a:latin typeface="+mn-lt"/>
                        </a:rPr>
                        <a:t>EES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57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7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>
                          <a:effectLst/>
                          <a:latin typeface="+mn-lt"/>
                        </a:rPr>
                        <a:t>177</a:t>
                      </a:r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3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>
                          <a:effectLst/>
                          <a:latin typeface="+mn-lt"/>
                        </a:rPr>
                        <a:t>234</a:t>
                      </a:r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  <a:latin typeface="+mn-lt"/>
                        </a:rPr>
                        <a:t>ICT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4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98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6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128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0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226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  <a:latin typeface="+mn-lt"/>
                        </a:rPr>
                        <a:t>ITM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5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>
                          <a:effectLst/>
                          <a:latin typeface="+mn-lt"/>
                        </a:rPr>
                        <a:t>262</a:t>
                      </a:r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1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271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6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>
                          <a:effectLst/>
                          <a:latin typeface="+mn-lt"/>
                        </a:rPr>
                        <a:t>533</a:t>
                      </a:r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  <a:latin typeface="+mn-lt"/>
                        </a:rPr>
                        <a:t>SCI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>
                          <a:effectLst/>
                          <a:latin typeface="+mn-lt"/>
                        </a:rPr>
                        <a:t>76</a:t>
                      </a:r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2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122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5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198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  <a:latin typeface="+mn-lt"/>
                        </a:rPr>
                        <a:t>STH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>
                          <a:effectLst/>
                          <a:latin typeface="+mn-lt"/>
                        </a:rPr>
                        <a:t>25</a:t>
                      </a:r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>
                          <a:effectLst/>
                          <a:latin typeface="+mn-lt"/>
                        </a:rPr>
                        <a:t>15</a:t>
                      </a:r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u="none" strike="noStrike" dirty="0">
                          <a:effectLst/>
                          <a:latin typeface="+mn-lt"/>
                        </a:rPr>
                        <a:t>40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  <a:latin typeface="+mn-lt"/>
                        </a:rPr>
                        <a:t>Totalsumma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1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  <a:latin typeface="+mn-lt"/>
                        </a:rPr>
                        <a:t>974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40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>
                          <a:effectLst/>
                          <a:latin typeface="+mn-lt"/>
                        </a:rPr>
                        <a:t>1078</a:t>
                      </a:r>
                      <a:endParaRPr lang="sv-SE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51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1" u="none" strike="noStrike" dirty="0">
                          <a:effectLst/>
                          <a:latin typeface="+mn-lt"/>
                        </a:rPr>
                        <a:t>2052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904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5</TotalTime>
  <Words>219</Words>
  <Application>Microsoft Office PowerPoint</Application>
  <PresentationFormat>On-screen Show (4:3)</PresentationFormat>
  <Paragraphs>120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Template_KTH_with colours and grafs</vt:lpstr>
      <vt:lpstr>think-cell Slide</vt:lpstr>
      <vt:lpstr>Antagningsstatistik Master HT16</vt:lpstr>
      <vt:lpstr>Antagningsstatistik Master HT16 urval 1</vt:lpstr>
      <vt:lpstr>Avgiftsstatus, antagna urval 1</vt:lpstr>
      <vt:lpstr>Antal antagna per skol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Maria Hult</cp:lastModifiedBy>
  <cp:revision>27</cp:revision>
  <cp:lastPrinted>2013-05-27T09:10:21Z</cp:lastPrinted>
  <dcterms:created xsi:type="dcterms:W3CDTF">2014-01-30T09:56:50Z</dcterms:created>
  <dcterms:modified xsi:type="dcterms:W3CDTF">2016-05-04T11:58:45Z</dcterms:modified>
</cp:coreProperties>
</file>